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0018"/>
    <a:srgbClr val="767676"/>
    <a:srgbClr val="0079C7"/>
    <a:srgbClr val="E5E5E5"/>
    <a:srgbClr val="8D8D8D"/>
    <a:srgbClr val="A8A8A8"/>
    <a:srgbClr val="5A5A5A"/>
    <a:srgbClr val="444444"/>
    <a:srgbClr val="2D327D"/>
    <a:srgbClr val="B7B7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C7FBFC64-9A3C-42B3-A3D2-464BF4272ACC}"/>
    <pc:docChg chg="modSld">
      <pc:chgData name="Weigel Stefan (PAR-EPS)" userId="fd3b2067-2981-4ad8-bf3a-d2e1004e4fa8" providerId="ADAL" clId="{C7FBFC64-9A3C-42B3-A3D2-464BF4272ACC}" dt="2024-02-28T07:27:53.111" v="15" actId="27918"/>
      <pc:docMkLst>
        <pc:docMk/>
      </pc:docMkLst>
      <pc:sldChg chg="modSp mod">
        <pc:chgData name="Weigel Stefan (PAR-EPS)" userId="fd3b2067-2981-4ad8-bf3a-d2e1004e4fa8" providerId="ADAL" clId="{C7FBFC64-9A3C-42B3-A3D2-464BF4272ACC}" dt="2024-02-28T07:27:53.111" v="15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C7FBFC64-9A3C-42B3-A3D2-464BF4272ACC}" dt="2024-02-28T07:26:44.409" v="0"/>
          <ac:spMkLst>
            <pc:docMk/>
            <pc:sldMk cId="3332483854" sldId="27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7FBFC64-9A3C-42B3-A3D2-464BF4272ACC}" dt="2024-02-28T07:26:50.709" v="1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C7FBFC64-9A3C-42B3-A3D2-464BF4272ACC}" dt="2024-02-28T07:27:18.244" v="9" actId="6549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22:51.882" v="47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22:51.882" v="47" actId="27918"/>
        <pc:sldMkLst>
          <pc:docMk/>
          <pc:sldMk cId="3332483854" sldId="274"/>
        </pc:sldMkLst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C60018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4000</c:v>
                </c:pt>
                <c:pt idx="1">
                  <c:v>76000</c:v>
                </c:pt>
                <c:pt idx="2">
                  <c:v>78000</c:v>
                </c:pt>
                <c:pt idx="3">
                  <c:v>87000</c:v>
                </c:pt>
                <c:pt idx="4">
                  <c:v>114000</c:v>
                </c:pt>
                <c:pt idx="5">
                  <c:v>126000</c:v>
                </c:pt>
                <c:pt idx="6">
                  <c:v>131000</c:v>
                </c:pt>
                <c:pt idx="7">
                  <c:v>140000</c:v>
                </c:pt>
                <c:pt idx="8">
                  <c:v>144000</c:v>
                </c:pt>
                <c:pt idx="9">
                  <c:v>171000</c:v>
                </c:pt>
                <c:pt idx="10">
                  <c:v>297000</c:v>
                </c:pt>
                <c:pt idx="11">
                  <c:v>39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ser>
          <c:idx val="0"/>
          <c:order val="1"/>
          <c:tx>
            <c:strRef>
              <c:f>data!$H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05A-4BFC-B039-8395A69970BE}"/>
              </c:ext>
            </c:extLst>
          </c:dPt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3:$H$14</c:f>
              <c:numCache>
                <c:formatCode>#,##0</c:formatCode>
                <c:ptCount val="12"/>
                <c:pt idx="0">
                  <c:v>69000</c:v>
                </c:pt>
                <c:pt idx="1">
                  <c:v>76000</c:v>
                </c:pt>
                <c:pt idx="2">
                  <c:v>82000</c:v>
                </c:pt>
                <c:pt idx="3">
                  <c:v>100000</c:v>
                </c:pt>
                <c:pt idx="4">
                  <c:v>117000</c:v>
                </c:pt>
                <c:pt idx="5">
                  <c:v>152000</c:v>
                </c:pt>
                <c:pt idx="6">
                  <c:v>128000</c:v>
                </c:pt>
                <c:pt idx="7">
                  <c:v>136000</c:v>
                </c:pt>
                <c:pt idx="8">
                  <c:v>167000</c:v>
                </c:pt>
                <c:pt idx="9">
                  <c:v>177000</c:v>
                </c:pt>
                <c:pt idx="10">
                  <c:v>330000</c:v>
                </c:pt>
                <c:pt idx="11">
                  <c:v>46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88340535936661169"/>
          <c:y val="0"/>
          <c:w val="8.7573685649527888E-2"/>
          <c:h val="7.6557908728647581E-2"/>
        </c:manualLayout>
      </c:layout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Station users.</a:t>
            </a: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489869" y="6095020"/>
            <a:ext cx="635472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000" kern="0" dirty="0">
                <a:solidFill>
                  <a:srgbClr val="444444"/>
                </a:solidFill>
              </a:rPr>
              <a:t>Station users: rail and public transport passengers, customers using shops and other outlets at stations, passers-by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312681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400" spc="30" dirty="0">
                <a:solidFill>
                  <a:schemeClr val="accent3"/>
                </a:solidFill>
              </a:rPr>
              <a:t>Average number of movements of persons per working day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2f5c8543-cf23-4718-a3b8-32b0a91d511a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F807D86-70C3-4BA1-A806-0D74E76C91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ation us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on users.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4-02-28T09:3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